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8" r:id="rId4"/>
    <p:sldMasterId id="2147483675" r:id="rId5"/>
  </p:sldMasterIdLst>
  <p:notesMasterIdLst>
    <p:notesMasterId r:id="rId12"/>
  </p:notesMasterIdLst>
  <p:handoutMasterIdLst>
    <p:handoutMasterId r:id="rId13"/>
  </p:handoutMasterIdLst>
  <p:sldIdLst>
    <p:sldId id="708" r:id="rId6"/>
    <p:sldId id="693" r:id="rId7"/>
    <p:sldId id="706" r:id="rId8"/>
    <p:sldId id="707" r:id="rId9"/>
    <p:sldId id="704" r:id="rId10"/>
    <p:sldId id="695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708"/>
            <p14:sldId id="693"/>
            <p14:sldId id="706"/>
            <p14:sldId id="707"/>
            <p14:sldId id="704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594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729118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362201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60868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FB33EC-99D7-4D90-A60C-9361E5BE483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82581"/>
            <a:ext cx="5991225" cy="599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87091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120532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65600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9351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247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999686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5064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8.xml"/><Relationship Id="rId9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3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9730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Light" pitchFamily="50" charset="0"/>
                <a:ea typeface="+mj-ea"/>
                <a:cs typeface="+mj-cs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2926080"/>
            <a:ext cx="6096000" cy="757343"/>
          </a:xfrm>
        </p:spPr>
        <p:txBody>
          <a:bodyPr/>
          <a:lstStyle/>
          <a:p>
            <a:r>
              <a:rPr lang="en-GB" sz="4000" dirty="0">
                <a:solidFill>
                  <a:srgbClr val="0070C0"/>
                </a:solidFill>
              </a:rPr>
              <a:t>Logical operators in Pyth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EC94883-8D13-430C-8E2F-72E12BB3E331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rithmetic Operato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A4996F-C255-430F-A30C-47C7A044181D}"/>
              </a:ext>
            </a:extLst>
          </p:cNvPr>
          <p:cNvSpPr txBox="1"/>
          <p:nvPr/>
        </p:nvSpPr>
        <p:spPr>
          <a:xfrm>
            <a:off x="176981" y="1818469"/>
            <a:ext cx="11335407" cy="36189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nsider the following arithmetic operators: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ddition (+)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Subtraction (-)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ultiplication (*)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Division (/)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xponentiation (or Powers) (**)</a:t>
            </a:r>
          </a:p>
          <a:p>
            <a:pPr marL="342900" marR="0" lvl="0" indent="-342900"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odulo (%)</a:t>
            </a:r>
          </a:p>
        </p:txBody>
      </p:sp>
    </p:spTree>
    <p:extLst>
      <p:ext uri="{BB962C8B-B14F-4D97-AF65-F5344CB8AC3E}">
        <p14:creationId xmlns:p14="http://schemas.microsoft.com/office/powerpoint/2010/main" val="2625749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EC94883-8D13-430C-8E2F-72E12BB3E331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omparison Operato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A4996F-C255-430F-A30C-47C7A044181D}"/>
              </a:ext>
            </a:extLst>
          </p:cNvPr>
          <p:cNvSpPr txBox="1"/>
          <p:nvPr/>
        </p:nvSpPr>
        <p:spPr>
          <a:xfrm>
            <a:off x="176981" y="1219380"/>
            <a:ext cx="11335407" cy="5131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The following are comparison operators in python:</a:t>
            </a:r>
            <a:endParaRPr lang="en-US" sz="2400" b="1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double equal to </a:t>
            </a:r>
            <a:r>
              <a:rPr lang="en-US" sz="2400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= =</a:t>
            </a: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not equal to </a:t>
            </a:r>
            <a:r>
              <a:rPr lang="en-US" sz="2400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=</a:t>
            </a: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greater than 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less than 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&lt;</a:t>
            </a: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greater than or equal to 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&gt;=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less than or equal to </a:t>
            </a:r>
            <a:r>
              <a:rPr lang="en-US" sz="2400" i="1" dirty="0">
                <a:solidFill>
                  <a:srgbClr val="5B9BD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&lt;=</a:t>
            </a:r>
          </a:p>
        </p:txBody>
      </p:sp>
    </p:spTree>
    <p:extLst>
      <p:ext uri="{BB962C8B-B14F-4D97-AF65-F5344CB8AC3E}">
        <p14:creationId xmlns:p14="http://schemas.microsoft.com/office/powerpoint/2010/main" val="374836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EC94883-8D13-430C-8E2F-72E12BB3E331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Logical Operato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A4996F-C255-430F-A30C-47C7A044181D}"/>
              </a:ext>
            </a:extLst>
          </p:cNvPr>
          <p:cNvSpPr txBox="1"/>
          <p:nvPr/>
        </p:nvSpPr>
        <p:spPr>
          <a:xfrm>
            <a:off x="176981" y="1298207"/>
            <a:ext cx="11335407" cy="36386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Logical operators test whether two expressions are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rue</a:t>
            </a: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or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alse</a:t>
            </a: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ere are three types of logical operators namely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nd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or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not</a:t>
            </a:r>
            <a:r>
              <a:rPr lang="en-US" sz="24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nd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- This operator returns a 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alse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when it encounters a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alse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ondition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or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- This operator returns a 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rue 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hen it encounters at least a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rue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ondition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not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- This operator returns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rue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f the condition is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alse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and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rue</a:t>
            </a:r>
            <a:r>
              <a:rPr lang="en-US" sz="24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f the condition is </a:t>
            </a:r>
            <a:r>
              <a:rPr lang="en-US" sz="24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alse</a:t>
            </a:r>
            <a:endParaRPr lang="en-US" sz="2400" b="1" dirty="0">
              <a:effectLst/>
              <a:latin typeface="+mj-lt"/>
              <a:ea typeface="Noto Sans Symbols"/>
              <a:cs typeface="Noto Sans Symbols"/>
            </a:endParaRPr>
          </a:p>
        </p:txBody>
      </p:sp>
    </p:spTree>
    <p:extLst>
      <p:ext uri="{BB962C8B-B14F-4D97-AF65-F5344CB8AC3E}">
        <p14:creationId xmlns:p14="http://schemas.microsoft.com/office/powerpoint/2010/main" val="157082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23369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01</TotalTime>
  <Words>150</Words>
  <Application>Microsoft Office PowerPoint</Application>
  <PresentationFormat>Widescreen</PresentationFormat>
  <Paragraphs>26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Gotham Light</vt:lpstr>
      <vt:lpstr>Lato Light</vt:lpstr>
      <vt:lpstr>Symbol</vt:lpstr>
      <vt:lpstr>Wingdings</vt:lpstr>
      <vt:lpstr>2_Office Theme</vt:lpstr>
      <vt:lpstr>3_Office Theme</vt:lpstr>
      <vt:lpstr>think-cell Slide</vt:lpstr>
      <vt:lpstr>Introduction to Programming in Python</vt:lpstr>
      <vt:lpstr>Logical operators in Pyth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42</cp:revision>
  <dcterms:created xsi:type="dcterms:W3CDTF">2020-03-16T19:15:12Z</dcterms:created>
  <dcterms:modified xsi:type="dcterms:W3CDTF">2024-05-03T11:4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